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015" r:id="rId2"/>
    <p:sldId id="2085" r:id="rId3"/>
    <p:sldId id="2086" r:id="rId4"/>
    <p:sldId id="2087" r:id="rId5"/>
    <p:sldId id="2084" r:id="rId6"/>
  </p:sldIdLst>
  <p:sldSz cx="9144000" cy="6858000" type="screen4x3"/>
  <p:notesSz cx="6858000" cy="9661525"/>
  <p:custShowLst>
    <p:custShow name="Mustermann1" id="0">
      <p:sldLst/>
    </p:custShow>
  </p:custShowLst>
  <p:custDataLst>
    <p:tags r:id="rId9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008F42"/>
    <a:srgbClr val="CC0000"/>
    <a:srgbClr val="FF3300"/>
    <a:srgbClr val="363636"/>
    <a:srgbClr val="800000"/>
    <a:srgbClr val="99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2" autoAdjust="0"/>
    <p:restoredTop sz="95921" autoAdjust="0"/>
  </p:normalViewPr>
  <p:slideViewPr>
    <p:cSldViewPr snapToGrid="0" showGuides="1">
      <p:cViewPr varScale="1">
        <p:scale>
          <a:sx n="110" d="100"/>
          <a:sy n="110" d="100"/>
        </p:scale>
        <p:origin x="1576" y="168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184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2.jpg"/><Relationship Id="rId4" Type="http://schemas.openxmlformats.org/officeDocument/2006/relationships/image" Target="../media/image1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0.jpeg"/><Relationship Id="rId5" Type="http://schemas.openxmlformats.org/officeDocument/2006/relationships/image" Target="../media/image14.jpg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0.jpeg"/><Relationship Id="rId5" Type="http://schemas.openxmlformats.org/officeDocument/2006/relationships/image" Target="../media/image15.jpg"/><Relationship Id="rId4" Type="http://schemas.openxmlformats.org/officeDocument/2006/relationships/image" Target="../media/image1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0.jpeg"/><Relationship Id="rId5" Type="http://schemas.openxmlformats.org/officeDocument/2006/relationships/image" Target="../media/image16.jp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cise + Graph Paper (6m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288684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BAB95596-ACBA-AD42-84E2-6209A4FE94D8}"/>
              </a:ext>
            </a:extLst>
          </p:cNvPr>
          <p:cNvGrpSpPr/>
          <p:nvPr userDrawn="1"/>
        </p:nvGrpSpPr>
        <p:grpSpPr>
          <a:xfrm>
            <a:off x="3675930" y="1440000"/>
            <a:ext cx="4975200" cy="4536000"/>
            <a:chOff x="3592800" y="1440000"/>
            <a:chExt cx="4975200" cy="4536000"/>
          </a:xfrm>
        </p:grpSpPr>
        <p:cxnSp>
          <p:nvCxnSpPr>
            <p:cNvPr id="70" name="Gerade Verbindung 69">
              <a:extLst>
                <a:ext uri="{FF2B5EF4-FFF2-40B4-BE49-F238E27FC236}">
                  <a16:creationId xmlns:a16="http://schemas.microsoft.com/office/drawing/2014/main" id="{10FF358C-0672-4443-9A7E-ED85C5F9D5C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9998" y="1440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>
              <a:extLst>
                <a:ext uri="{FF2B5EF4-FFF2-40B4-BE49-F238E27FC236}">
                  <a16:creationId xmlns:a16="http://schemas.microsoft.com/office/drawing/2014/main" id="{63B4A1C6-E3E0-9441-8363-C82F49E1914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1656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>
              <a:extLst>
                <a:ext uri="{FF2B5EF4-FFF2-40B4-BE49-F238E27FC236}">
                  <a16:creationId xmlns:a16="http://schemas.microsoft.com/office/drawing/2014/main" id="{BDAE823C-ED3F-FB4B-9672-3E04C5027F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1872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>
              <a:extLst>
                <a:ext uri="{FF2B5EF4-FFF2-40B4-BE49-F238E27FC236}">
                  <a16:creationId xmlns:a16="http://schemas.microsoft.com/office/drawing/2014/main" id="{513ED1D3-6D4C-DB4E-9210-CFF084AEE1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2088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>
              <a:extLst>
                <a:ext uri="{FF2B5EF4-FFF2-40B4-BE49-F238E27FC236}">
                  <a16:creationId xmlns:a16="http://schemas.microsoft.com/office/drawing/2014/main" id="{EBAE2F4C-3764-AA40-A374-87AFB163D94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2304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>
              <a:extLst>
                <a:ext uri="{FF2B5EF4-FFF2-40B4-BE49-F238E27FC236}">
                  <a16:creationId xmlns:a16="http://schemas.microsoft.com/office/drawing/2014/main" id="{0B521423-E380-864B-8001-9D8D0D72ABE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2520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>
              <a:extLst>
                <a:ext uri="{FF2B5EF4-FFF2-40B4-BE49-F238E27FC236}">
                  <a16:creationId xmlns:a16="http://schemas.microsoft.com/office/drawing/2014/main" id="{E479BDF7-6CAD-8843-B6F2-771E253F24E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2736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>
              <a:extLst>
                <a:ext uri="{FF2B5EF4-FFF2-40B4-BE49-F238E27FC236}">
                  <a16:creationId xmlns:a16="http://schemas.microsoft.com/office/drawing/2014/main" id="{BD2623E2-A1FD-0E4F-8610-02AB1E2262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2952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>
              <a:extLst>
                <a:ext uri="{FF2B5EF4-FFF2-40B4-BE49-F238E27FC236}">
                  <a16:creationId xmlns:a16="http://schemas.microsoft.com/office/drawing/2014/main" id="{3A023702-D4D6-974A-A9EF-9CBF90E0803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399" y="3168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>
              <a:extLst>
                <a:ext uri="{FF2B5EF4-FFF2-40B4-BE49-F238E27FC236}">
                  <a16:creationId xmlns:a16="http://schemas.microsoft.com/office/drawing/2014/main" id="{E80816B3-4437-CF4E-8935-7B3BEF85282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3384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>
              <a:extLst>
                <a:ext uri="{FF2B5EF4-FFF2-40B4-BE49-F238E27FC236}">
                  <a16:creationId xmlns:a16="http://schemas.microsoft.com/office/drawing/2014/main" id="{3368CE03-5079-6541-ADC2-C91B2B959E7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3600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>
              <a:extLst>
                <a:ext uri="{FF2B5EF4-FFF2-40B4-BE49-F238E27FC236}">
                  <a16:creationId xmlns:a16="http://schemas.microsoft.com/office/drawing/2014/main" id="{DCE9704F-C424-964E-AD9E-46F569261F3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3816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>
              <a:extLst>
                <a:ext uri="{FF2B5EF4-FFF2-40B4-BE49-F238E27FC236}">
                  <a16:creationId xmlns:a16="http://schemas.microsoft.com/office/drawing/2014/main" id="{E1DDF5FA-EF21-FF48-A8DC-0A6166DB016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4032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>
              <a:extLst>
                <a:ext uri="{FF2B5EF4-FFF2-40B4-BE49-F238E27FC236}">
                  <a16:creationId xmlns:a16="http://schemas.microsoft.com/office/drawing/2014/main" id="{39B95C39-E217-5D4E-BD8E-D80DC63A24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4248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>
              <a:extLst>
                <a:ext uri="{FF2B5EF4-FFF2-40B4-BE49-F238E27FC236}">
                  <a16:creationId xmlns:a16="http://schemas.microsoft.com/office/drawing/2014/main" id="{F8718E00-D960-E34B-B2F4-DFF8E22149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4464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>
              <a:extLst>
                <a:ext uri="{FF2B5EF4-FFF2-40B4-BE49-F238E27FC236}">
                  <a16:creationId xmlns:a16="http://schemas.microsoft.com/office/drawing/2014/main" id="{F818643F-F3D4-9043-A37B-2F711FC822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4680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>
              <a:extLst>
                <a:ext uri="{FF2B5EF4-FFF2-40B4-BE49-F238E27FC236}">
                  <a16:creationId xmlns:a16="http://schemas.microsoft.com/office/drawing/2014/main" id="{5959DAFB-5F09-C64A-B5A3-722E85B074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4896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>
              <a:extLst>
                <a:ext uri="{FF2B5EF4-FFF2-40B4-BE49-F238E27FC236}">
                  <a16:creationId xmlns:a16="http://schemas.microsoft.com/office/drawing/2014/main" id="{EC123212-78DC-254B-B008-30862C2963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5112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>
              <a:extLst>
                <a:ext uri="{FF2B5EF4-FFF2-40B4-BE49-F238E27FC236}">
                  <a16:creationId xmlns:a16="http://schemas.microsoft.com/office/drawing/2014/main" id="{7C341BAF-086C-2940-A9D5-2C31C2F81BE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5328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>
              <a:extLst>
                <a:ext uri="{FF2B5EF4-FFF2-40B4-BE49-F238E27FC236}">
                  <a16:creationId xmlns:a16="http://schemas.microsoft.com/office/drawing/2014/main" id="{4618FBF4-D540-7145-B8A5-5E39E63B4ED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5544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>
              <a:extLst>
                <a:ext uri="{FF2B5EF4-FFF2-40B4-BE49-F238E27FC236}">
                  <a16:creationId xmlns:a16="http://schemas.microsoft.com/office/drawing/2014/main" id="{674FC9CE-2C40-2B48-A241-015B017DA79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5760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>
              <a:extLst>
                <a:ext uri="{FF2B5EF4-FFF2-40B4-BE49-F238E27FC236}">
                  <a16:creationId xmlns:a16="http://schemas.microsoft.com/office/drawing/2014/main" id="{98E3689C-B293-8B4A-AAE1-3C489F382C8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2800" y="5976000"/>
              <a:ext cx="4968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>
              <a:extLst>
                <a:ext uri="{FF2B5EF4-FFF2-40B4-BE49-F238E27FC236}">
                  <a16:creationId xmlns:a16="http://schemas.microsoft.com/office/drawing/2014/main" id="{7AFF3780-D7C6-8242-9CE8-2736C79FCC8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0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>
              <a:extLst>
                <a:ext uri="{FF2B5EF4-FFF2-40B4-BE49-F238E27FC236}">
                  <a16:creationId xmlns:a16="http://schemas.microsoft.com/office/drawing/2014/main" id="{EFF36878-6E37-FC42-814F-C4FFD167EA8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1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>
              <a:extLst>
                <a:ext uri="{FF2B5EF4-FFF2-40B4-BE49-F238E27FC236}">
                  <a16:creationId xmlns:a16="http://schemas.microsoft.com/office/drawing/2014/main" id="{57F1A52D-913F-D64E-80B5-61B87D643BC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3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>
              <a:extLst>
                <a:ext uri="{FF2B5EF4-FFF2-40B4-BE49-F238E27FC236}">
                  <a16:creationId xmlns:a16="http://schemas.microsoft.com/office/drawing/2014/main" id="{AB2C18EC-239A-EF46-BB9D-2C45D2ACB0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24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>
              <a:extLst>
                <a:ext uri="{FF2B5EF4-FFF2-40B4-BE49-F238E27FC236}">
                  <a16:creationId xmlns:a16="http://schemas.microsoft.com/office/drawing/2014/main" id="{4EC96D17-D671-4849-914E-34E3CB26795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6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>
              <a:extLst>
                <a:ext uri="{FF2B5EF4-FFF2-40B4-BE49-F238E27FC236}">
                  <a16:creationId xmlns:a16="http://schemas.microsoft.com/office/drawing/2014/main" id="{4282C36C-71D9-DC41-AB7F-E08273CB0CA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>
              <a:extLst>
                <a:ext uri="{FF2B5EF4-FFF2-40B4-BE49-F238E27FC236}">
                  <a16:creationId xmlns:a16="http://schemas.microsoft.com/office/drawing/2014/main" id="{A5DE59FD-E6BD-3D44-8CF1-12BF58C4504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9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>
              <a:extLst>
                <a:ext uri="{FF2B5EF4-FFF2-40B4-BE49-F238E27FC236}">
                  <a16:creationId xmlns:a16="http://schemas.microsoft.com/office/drawing/2014/main" id="{5659C2BB-37F8-ED4A-AB68-46773B0BA43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11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>
              <a:extLst>
                <a:ext uri="{FF2B5EF4-FFF2-40B4-BE49-F238E27FC236}">
                  <a16:creationId xmlns:a16="http://schemas.microsoft.com/office/drawing/2014/main" id="{D60F7F73-0BBD-8540-AB8E-E78BB086EB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2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>
              <a:extLst>
                <a:ext uri="{FF2B5EF4-FFF2-40B4-BE49-F238E27FC236}">
                  <a16:creationId xmlns:a16="http://schemas.microsoft.com/office/drawing/2014/main" id="{33868374-7D95-8C4F-87B3-766AD25B66F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54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>
              <a:extLst>
                <a:ext uri="{FF2B5EF4-FFF2-40B4-BE49-F238E27FC236}">
                  <a16:creationId xmlns:a16="http://schemas.microsoft.com/office/drawing/2014/main" id="{CFF59EBF-780A-3449-81CB-F1F65C882F4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>
              <a:extLst>
                <a:ext uri="{FF2B5EF4-FFF2-40B4-BE49-F238E27FC236}">
                  <a16:creationId xmlns:a16="http://schemas.microsoft.com/office/drawing/2014/main" id="{B4868DBF-B4A6-8343-9730-D18964767F6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7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5643C5D5-C4B8-2044-A32E-221AAA9D9A6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19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FBCE5E57-2041-AD40-9616-8EC258ED11A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0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CF0C2EE5-CE3B-AF40-9155-E083909006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2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31230F60-BE61-2641-9A04-DF30D5CC663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4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FB1EC294-E255-2843-B7A9-5C8BFDD88AD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5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43BF77C4-C8BC-C64B-BE74-86B9B54B380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27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5F385267-2562-1A40-88D9-FBFE314C0D5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6E4445CC-CFB7-EA44-8640-242BE6755BF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0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081A8374-A75A-F948-BBE8-2957B4F8A4E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2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A1009625-21A7-3A45-9B21-2721FB3B431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13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360E5131-97BE-624E-B071-93661F1280D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35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3C3A6412-3AE0-C944-83B8-39604ACDDF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6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80581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Paper (6m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42BEF25-7C4B-8D4F-BCD1-A89800DA9E44}"/>
              </a:ext>
            </a:extLst>
          </p:cNvPr>
          <p:cNvGrpSpPr/>
          <p:nvPr userDrawn="1"/>
        </p:nvGrpSpPr>
        <p:grpSpPr>
          <a:xfrm>
            <a:off x="659130" y="1440000"/>
            <a:ext cx="7992000" cy="4536000"/>
            <a:chOff x="576000" y="1440000"/>
            <a:chExt cx="7992000" cy="4536000"/>
          </a:xfrm>
        </p:grpSpPr>
        <p:cxnSp>
          <p:nvCxnSpPr>
            <p:cNvPr id="6" name="Gerade Verbindung 5">
              <a:extLst>
                <a:ext uri="{FF2B5EF4-FFF2-40B4-BE49-F238E27FC236}">
                  <a16:creationId xmlns:a16="http://schemas.microsoft.com/office/drawing/2014/main" id="{546E376B-703E-1046-85E1-8E3684F71B6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1440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>
              <a:extLst>
                <a:ext uri="{FF2B5EF4-FFF2-40B4-BE49-F238E27FC236}">
                  <a16:creationId xmlns:a16="http://schemas.microsoft.com/office/drawing/2014/main" id="{837AD48F-E1ED-D84F-AD1A-97AC48C392B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1656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>
              <a:extLst>
                <a:ext uri="{FF2B5EF4-FFF2-40B4-BE49-F238E27FC236}">
                  <a16:creationId xmlns:a16="http://schemas.microsoft.com/office/drawing/2014/main" id="{F0A9E9C3-74D5-9446-B879-D36B56550D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1872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8E50809A-B48F-F14F-AB0E-61ED866881E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2088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>
              <a:extLst>
                <a:ext uri="{FF2B5EF4-FFF2-40B4-BE49-F238E27FC236}">
                  <a16:creationId xmlns:a16="http://schemas.microsoft.com/office/drawing/2014/main" id="{7E496351-B722-D54C-8D0C-20B5DECCFC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2304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18F0730B-1CFE-214C-A1B2-F43204BA509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2520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>
              <a:extLst>
                <a:ext uri="{FF2B5EF4-FFF2-40B4-BE49-F238E27FC236}">
                  <a16:creationId xmlns:a16="http://schemas.microsoft.com/office/drawing/2014/main" id="{276BFF45-EFE4-834B-AFFB-C1356DECFE5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2736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>
              <a:extLst>
                <a:ext uri="{FF2B5EF4-FFF2-40B4-BE49-F238E27FC236}">
                  <a16:creationId xmlns:a16="http://schemas.microsoft.com/office/drawing/2014/main" id="{30FC6561-2E5F-BC43-8104-96CCCAEAE32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2952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C40799CE-FFAF-D249-864F-15FA5B8516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3168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6422B298-A71F-F449-A590-ACB35824940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3384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1E3D893C-0656-554D-9B23-DB8B79609F6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3600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>
              <a:extLst>
                <a:ext uri="{FF2B5EF4-FFF2-40B4-BE49-F238E27FC236}">
                  <a16:creationId xmlns:a16="http://schemas.microsoft.com/office/drawing/2014/main" id="{039103B3-9A32-E548-A302-4DB70131D2F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3816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>
              <a:extLst>
                <a:ext uri="{FF2B5EF4-FFF2-40B4-BE49-F238E27FC236}">
                  <a16:creationId xmlns:a16="http://schemas.microsoft.com/office/drawing/2014/main" id="{72F9DB73-94C7-5747-B325-E44A4BD756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4032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>
              <a:extLst>
                <a:ext uri="{FF2B5EF4-FFF2-40B4-BE49-F238E27FC236}">
                  <a16:creationId xmlns:a16="http://schemas.microsoft.com/office/drawing/2014/main" id="{AA272ED5-8C83-7446-9C2A-8E84399F79F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4248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356F8BB9-D55F-0C4A-B3FF-5A42442C44E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4464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0F7C869E-6D1A-DF41-98DC-67EEB42906D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4680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0334FD76-5965-324C-B721-35ED5A695E3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4896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B31E00C6-DED3-904F-8D34-B56BAB1CA3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5112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>
              <a:extLst>
                <a:ext uri="{FF2B5EF4-FFF2-40B4-BE49-F238E27FC236}">
                  <a16:creationId xmlns:a16="http://schemas.microsoft.com/office/drawing/2014/main" id="{239035BB-B355-2F47-BC25-B7FA2DB7B95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5328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>
              <a:extLst>
                <a:ext uri="{FF2B5EF4-FFF2-40B4-BE49-F238E27FC236}">
                  <a16:creationId xmlns:a16="http://schemas.microsoft.com/office/drawing/2014/main" id="{DB765D82-0E67-6647-B78A-EBA7E2E33C9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5544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BBD18936-B26B-B44D-B25C-571325EEAB3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5760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5A35B899-34DB-0448-948B-B16378589A6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5976000"/>
              <a:ext cx="799200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>
              <a:extLst>
                <a:ext uri="{FF2B5EF4-FFF2-40B4-BE49-F238E27FC236}">
                  <a16:creationId xmlns:a16="http://schemas.microsoft.com/office/drawing/2014/main" id="{DD8CD0DA-EC1B-624C-B9E2-C23E8F1204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0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>
              <a:extLst>
                <a:ext uri="{FF2B5EF4-FFF2-40B4-BE49-F238E27FC236}">
                  <a16:creationId xmlns:a16="http://schemas.microsoft.com/office/drawing/2014/main" id="{8423ECE7-1EF3-1D43-A4C9-8DD42283D24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1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>
              <a:extLst>
                <a:ext uri="{FF2B5EF4-FFF2-40B4-BE49-F238E27FC236}">
                  <a16:creationId xmlns:a16="http://schemas.microsoft.com/office/drawing/2014/main" id="{079F3A29-AA51-484B-8D9F-C4C8DA34BF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3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>
              <a:extLst>
                <a:ext uri="{FF2B5EF4-FFF2-40B4-BE49-F238E27FC236}">
                  <a16:creationId xmlns:a16="http://schemas.microsoft.com/office/drawing/2014/main" id="{FEB430C2-E07B-C041-817C-BAAC66B174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24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>
              <a:extLst>
                <a:ext uri="{FF2B5EF4-FFF2-40B4-BE49-F238E27FC236}">
                  <a16:creationId xmlns:a16="http://schemas.microsoft.com/office/drawing/2014/main" id="{85FCD74F-6649-2948-97EB-ED972C15E28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6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>
              <a:extLst>
                <a:ext uri="{FF2B5EF4-FFF2-40B4-BE49-F238E27FC236}">
                  <a16:creationId xmlns:a16="http://schemas.microsoft.com/office/drawing/2014/main" id="{04D045B2-9A04-5546-9635-B2FFCF52A5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>
              <a:extLst>
                <a:ext uri="{FF2B5EF4-FFF2-40B4-BE49-F238E27FC236}">
                  <a16:creationId xmlns:a16="http://schemas.microsoft.com/office/drawing/2014/main" id="{A789712E-70E3-9C43-AC8D-A48D4C97BAE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9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>
              <a:extLst>
                <a:ext uri="{FF2B5EF4-FFF2-40B4-BE49-F238E27FC236}">
                  <a16:creationId xmlns:a16="http://schemas.microsoft.com/office/drawing/2014/main" id="{6419C7C7-F197-D54E-9D89-30A46134C82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11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>
              <a:extLst>
                <a:ext uri="{FF2B5EF4-FFF2-40B4-BE49-F238E27FC236}">
                  <a16:creationId xmlns:a16="http://schemas.microsoft.com/office/drawing/2014/main" id="{899F149E-5F48-7541-ACBC-B61863B8BEF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2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>
              <a:extLst>
                <a:ext uri="{FF2B5EF4-FFF2-40B4-BE49-F238E27FC236}">
                  <a16:creationId xmlns:a16="http://schemas.microsoft.com/office/drawing/2014/main" id="{6E4F8946-4DF2-004D-9B58-46ED1E89BC9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54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>
              <a:extLst>
                <a:ext uri="{FF2B5EF4-FFF2-40B4-BE49-F238E27FC236}">
                  <a16:creationId xmlns:a16="http://schemas.microsoft.com/office/drawing/2014/main" id="{2E14563E-34BF-B644-AEF7-ADF753EA5E7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>
              <a:extLst>
                <a:ext uri="{FF2B5EF4-FFF2-40B4-BE49-F238E27FC236}">
                  <a16:creationId xmlns:a16="http://schemas.microsoft.com/office/drawing/2014/main" id="{62A39CC2-E76F-3E4A-928D-C5D56724AF6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7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D9D58C31-315F-4749-9114-4B241A55B7D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19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>
              <a:extLst>
                <a:ext uri="{FF2B5EF4-FFF2-40B4-BE49-F238E27FC236}">
                  <a16:creationId xmlns:a16="http://schemas.microsoft.com/office/drawing/2014/main" id="{297220A0-1754-734C-B806-DEBC2C871B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0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>
              <a:extLst>
                <a:ext uri="{FF2B5EF4-FFF2-40B4-BE49-F238E27FC236}">
                  <a16:creationId xmlns:a16="http://schemas.microsoft.com/office/drawing/2014/main" id="{31F9CCC7-6589-FE49-A7CC-3402AD42507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2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>
              <a:extLst>
                <a:ext uri="{FF2B5EF4-FFF2-40B4-BE49-F238E27FC236}">
                  <a16:creationId xmlns:a16="http://schemas.microsoft.com/office/drawing/2014/main" id="{06A1C214-57CA-544E-81A2-6879E43B356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4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>
              <a:extLst>
                <a:ext uri="{FF2B5EF4-FFF2-40B4-BE49-F238E27FC236}">
                  <a16:creationId xmlns:a16="http://schemas.microsoft.com/office/drawing/2014/main" id="{CACB31FB-09DE-D749-8AA2-0983EAA9719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5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>
              <a:extLst>
                <a:ext uri="{FF2B5EF4-FFF2-40B4-BE49-F238E27FC236}">
                  <a16:creationId xmlns:a16="http://schemas.microsoft.com/office/drawing/2014/main" id="{0E803307-369C-B949-9F12-E617B9CF682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27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>
              <a:extLst>
                <a:ext uri="{FF2B5EF4-FFF2-40B4-BE49-F238E27FC236}">
                  <a16:creationId xmlns:a16="http://schemas.microsoft.com/office/drawing/2014/main" id="{C1322457-850C-DA43-97D6-FBF1765FA52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0B3F4CD9-28CF-804F-A5F2-F576E7E167B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0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>
              <a:extLst>
                <a:ext uri="{FF2B5EF4-FFF2-40B4-BE49-F238E27FC236}">
                  <a16:creationId xmlns:a16="http://schemas.microsoft.com/office/drawing/2014/main" id="{95B02E75-A57F-D849-99C9-3D3F12ABDDF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2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>
              <a:extLst>
                <a:ext uri="{FF2B5EF4-FFF2-40B4-BE49-F238E27FC236}">
                  <a16:creationId xmlns:a16="http://schemas.microsoft.com/office/drawing/2014/main" id="{D8D625B4-3BEB-1D4D-8F62-7B18BE2466B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13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>
              <a:extLst>
                <a:ext uri="{FF2B5EF4-FFF2-40B4-BE49-F238E27FC236}">
                  <a16:creationId xmlns:a16="http://schemas.microsoft.com/office/drawing/2014/main" id="{1E11EC46-C761-1A47-85BB-28294FEABB5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35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>
              <a:extLst>
                <a:ext uri="{FF2B5EF4-FFF2-40B4-BE49-F238E27FC236}">
                  <a16:creationId xmlns:a16="http://schemas.microsoft.com/office/drawing/2014/main" id="{7CD7123B-78D0-EE43-9D86-C975A7FF6E6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6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>
              <a:extLst>
                <a:ext uri="{FF2B5EF4-FFF2-40B4-BE49-F238E27FC236}">
                  <a16:creationId xmlns:a16="http://schemas.microsoft.com/office/drawing/2014/main" id="{575AEE53-F9F3-7E42-BC93-4C2FA0CD641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7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>
              <a:extLst>
                <a:ext uri="{FF2B5EF4-FFF2-40B4-BE49-F238E27FC236}">
                  <a16:creationId xmlns:a16="http://schemas.microsoft.com/office/drawing/2014/main" id="{C81C66CC-D622-1744-820F-1CB798E738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>
              <a:extLst>
                <a:ext uri="{FF2B5EF4-FFF2-40B4-BE49-F238E27FC236}">
                  <a16:creationId xmlns:a16="http://schemas.microsoft.com/office/drawing/2014/main" id="{D6A33F34-03B9-8340-8073-070A0580D75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>
              <a:extLst>
                <a:ext uri="{FF2B5EF4-FFF2-40B4-BE49-F238E27FC236}">
                  <a16:creationId xmlns:a16="http://schemas.microsoft.com/office/drawing/2014/main" id="{5563445D-6EE0-9641-AE84-E085464B97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2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>
              <a:extLst>
                <a:ext uri="{FF2B5EF4-FFF2-40B4-BE49-F238E27FC236}">
                  <a16:creationId xmlns:a16="http://schemas.microsoft.com/office/drawing/2014/main" id="{2D0FD69D-2A96-4C44-BD0F-C4AC26970F5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4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>
              <a:extLst>
                <a:ext uri="{FF2B5EF4-FFF2-40B4-BE49-F238E27FC236}">
                  <a16:creationId xmlns:a16="http://schemas.microsoft.com/office/drawing/2014/main" id="{94928A65-A9F1-F144-B7EE-8D893AE15DB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5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>
              <a:extLst>
                <a:ext uri="{FF2B5EF4-FFF2-40B4-BE49-F238E27FC236}">
                  <a16:creationId xmlns:a16="http://schemas.microsoft.com/office/drawing/2014/main" id="{9D074C07-DC10-3D4B-98C3-FCC6404EFB5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7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>
              <a:extLst>
                <a:ext uri="{FF2B5EF4-FFF2-40B4-BE49-F238E27FC236}">
                  <a16:creationId xmlns:a16="http://schemas.microsoft.com/office/drawing/2014/main" id="{DA52CC9D-8B84-1846-8C4A-53A595F416B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8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>
              <a:extLst>
                <a:ext uri="{FF2B5EF4-FFF2-40B4-BE49-F238E27FC236}">
                  <a16:creationId xmlns:a16="http://schemas.microsoft.com/office/drawing/2014/main" id="{17A3DB2C-DCCA-5444-88D2-B503783C0C4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0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>
              <a:extLst>
                <a:ext uri="{FF2B5EF4-FFF2-40B4-BE49-F238E27FC236}">
                  <a16:creationId xmlns:a16="http://schemas.microsoft.com/office/drawing/2014/main" id="{6B8087B9-79FD-4A4E-9DE1-77A3A429629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20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>
              <a:extLst>
                <a:ext uri="{FF2B5EF4-FFF2-40B4-BE49-F238E27FC236}">
                  <a16:creationId xmlns:a16="http://schemas.microsoft.com/office/drawing/2014/main" id="{0FD5A8D8-A8BC-9549-9FD0-BCC573B0D2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6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>
              <a:extLst>
                <a:ext uri="{FF2B5EF4-FFF2-40B4-BE49-F238E27FC236}">
                  <a16:creationId xmlns:a16="http://schemas.microsoft.com/office/drawing/2014/main" id="{21B93AB2-BE61-214E-9B2A-EB15E74296C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952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>
              <a:extLst>
                <a:ext uri="{FF2B5EF4-FFF2-40B4-BE49-F238E27FC236}">
                  <a16:creationId xmlns:a16="http://schemas.microsoft.com/office/drawing/2014/main" id="{1EA76D7E-0641-2842-980E-95301DC6F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68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>
              <a:extLst>
                <a:ext uri="{FF2B5EF4-FFF2-40B4-BE49-F238E27FC236}">
                  <a16:creationId xmlns:a16="http://schemas.microsoft.com/office/drawing/2014/main" id="{0FF06CF6-674B-784A-8FDA-51DB897E625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84000" y="1440000"/>
              <a:ext cx="0" cy="453600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7686250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endul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Mem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D32323-3E14-174E-BCAE-F9CA33E69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139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DD949EE3-C10B-5846-AF8F-D76CEEEA5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5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18515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Serv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F460671-EB32-C145-979C-2F8AB1862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729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9527232E-EEDE-4846-9DFC-59E72F9183BE}"/>
              </a:ext>
            </a:extLst>
          </p:cNvPr>
          <p:cNvSpPr/>
          <p:nvPr userDrawn="1"/>
        </p:nvSpPr>
        <p:spPr bwMode="auto">
          <a:xfrm>
            <a:off x="0" y="0"/>
            <a:ext cx="9144000" cy="1114425"/>
          </a:xfrm>
          <a:prstGeom prst="rect">
            <a:avLst/>
          </a:prstGeom>
          <a:solidFill>
            <a:srgbClr val="363636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1707DC0-0695-9A47-B95C-D0058B5FFC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11746"/>
          <a:stretch/>
        </p:blipFill>
        <p:spPr>
          <a:xfrm>
            <a:off x="0" y="1043700"/>
            <a:ext cx="9144000" cy="581430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21D6943-685D-3848-A86A-4663761833FC}"/>
              </a:ext>
            </a:extLst>
          </p:cNvPr>
          <p:cNvGrpSpPr/>
          <p:nvPr userDrawn="1"/>
        </p:nvGrpSpPr>
        <p:grpSpPr>
          <a:xfrm>
            <a:off x="7024687" y="5947200"/>
            <a:ext cx="2119313" cy="910800"/>
            <a:chOff x="7024687" y="5947200"/>
            <a:chExt cx="2119313" cy="910800"/>
          </a:xfrm>
        </p:grpSpPr>
        <p:sp>
          <p:nvSpPr>
            <p:cNvPr id="8" name="Abgerundetes Rechteck 2"/>
            <p:cNvSpPr/>
            <p:nvPr userDrawn="1"/>
          </p:nvSpPr>
          <p:spPr bwMode="auto">
            <a:xfrm>
              <a:off x="7024687" y="5947200"/>
              <a:ext cx="2119313" cy="910800"/>
            </a:xfrm>
            <a:custGeom>
              <a:avLst/>
              <a:gdLst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632783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2632783 w 2632783"/>
                <a:gd name="connsiteY0" fmla="*/ 867082 h 1260000"/>
                <a:gd name="connsiteX1" fmla="*/ 2239865 w 2632783"/>
                <a:gd name="connsiteY1" fmla="*/ 1260000 h 1260000"/>
                <a:gd name="connsiteX2" fmla="*/ 392918 w 2632783"/>
                <a:gd name="connsiteY2" fmla="*/ 1260000 h 1260000"/>
                <a:gd name="connsiteX3" fmla="*/ 0 w 2632783"/>
                <a:gd name="connsiteY3" fmla="*/ 867082 h 1260000"/>
                <a:gd name="connsiteX4" fmla="*/ 0 w 2632783"/>
                <a:gd name="connsiteY4" fmla="*/ 392918 h 1260000"/>
                <a:gd name="connsiteX5" fmla="*/ 392918 w 2632783"/>
                <a:gd name="connsiteY5" fmla="*/ 0 h 1260000"/>
                <a:gd name="connsiteX6" fmla="*/ 2239865 w 2632783"/>
                <a:gd name="connsiteY6" fmla="*/ 0 h 1260000"/>
                <a:gd name="connsiteX7" fmla="*/ 2499140 w 2632783"/>
                <a:gd name="connsiteY7" fmla="*/ 484358 h 1260000"/>
                <a:gd name="connsiteX0" fmla="*/ 2239865 w 2499140"/>
                <a:gd name="connsiteY0" fmla="*/ 1260000 h 1260000"/>
                <a:gd name="connsiteX1" fmla="*/ 392918 w 2499140"/>
                <a:gd name="connsiteY1" fmla="*/ 1260000 h 1260000"/>
                <a:gd name="connsiteX2" fmla="*/ 0 w 2499140"/>
                <a:gd name="connsiteY2" fmla="*/ 867082 h 1260000"/>
                <a:gd name="connsiteX3" fmla="*/ 0 w 2499140"/>
                <a:gd name="connsiteY3" fmla="*/ 392918 h 1260000"/>
                <a:gd name="connsiteX4" fmla="*/ 392918 w 2499140"/>
                <a:gd name="connsiteY4" fmla="*/ 0 h 1260000"/>
                <a:gd name="connsiteX5" fmla="*/ 2239865 w 2499140"/>
                <a:gd name="connsiteY5" fmla="*/ 0 h 1260000"/>
                <a:gd name="connsiteX6" fmla="*/ 2499140 w 2499140"/>
                <a:gd name="connsiteY6" fmla="*/ 484358 h 1260000"/>
                <a:gd name="connsiteX0" fmla="*/ 2239865 w 2239865"/>
                <a:gd name="connsiteY0" fmla="*/ 1260000 h 1260000"/>
                <a:gd name="connsiteX1" fmla="*/ 392918 w 2239865"/>
                <a:gd name="connsiteY1" fmla="*/ 1260000 h 1260000"/>
                <a:gd name="connsiteX2" fmla="*/ 0 w 2239865"/>
                <a:gd name="connsiteY2" fmla="*/ 867082 h 1260000"/>
                <a:gd name="connsiteX3" fmla="*/ 0 w 2239865"/>
                <a:gd name="connsiteY3" fmla="*/ 392918 h 1260000"/>
                <a:gd name="connsiteX4" fmla="*/ 392918 w 2239865"/>
                <a:gd name="connsiteY4" fmla="*/ 0 h 1260000"/>
                <a:gd name="connsiteX5" fmla="*/ 2239865 w 2239865"/>
                <a:gd name="connsiteY5" fmla="*/ 0 h 1260000"/>
                <a:gd name="connsiteX0" fmla="*/ 2239865 w 2239865"/>
                <a:gd name="connsiteY0" fmla="*/ 1260000 h 1260000"/>
                <a:gd name="connsiteX1" fmla="*/ 0 w 2239865"/>
                <a:gd name="connsiteY1" fmla="*/ 867082 h 1260000"/>
                <a:gd name="connsiteX2" fmla="*/ 0 w 2239865"/>
                <a:gd name="connsiteY2" fmla="*/ 392918 h 1260000"/>
                <a:gd name="connsiteX3" fmla="*/ 392918 w 2239865"/>
                <a:gd name="connsiteY3" fmla="*/ 0 h 1260000"/>
                <a:gd name="connsiteX4" fmla="*/ 2239865 w 2239865"/>
                <a:gd name="connsiteY4" fmla="*/ 0 h 1260000"/>
                <a:gd name="connsiteX0" fmla="*/ 2239865 w 2239865"/>
                <a:gd name="connsiteY0" fmla="*/ 894240 h 894240"/>
                <a:gd name="connsiteX1" fmla="*/ 0 w 2239865"/>
                <a:gd name="connsiteY1" fmla="*/ 867082 h 894240"/>
                <a:gd name="connsiteX2" fmla="*/ 0 w 2239865"/>
                <a:gd name="connsiteY2" fmla="*/ 392918 h 894240"/>
                <a:gd name="connsiteX3" fmla="*/ 392918 w 2239865"/>
                <a:gd name="connsiteY3" fmla="*/ 0 h 894240"/>
                <a:gd name="connsiteX4" fmla="*/ 2239865 w 2239865"/>
                <a:gd name="connsiteY4" fmla="*/ 0 h 894240"/>
                <a:gd name="connsiteX0" fmla="*/ 2253933 w 2253933"/>
                <a:gd name="connsiteY0" fmla="*/ 873139 h 873139"/>
                <a:gd name="connsiteX1" fmla="*/ 0 w 2253933"/>
                <a:gd name="connsiteY1" fmla="*/ 867082 h 873139"/>
                <a:gd name="connsiteX2" fmla="*/ 0 w 2253933"/>
                <a:gd name="connsiteY2" fmla="*/ 392918 h 873139"/>
                <a:gd name="connsiteX3" fmla="*/ 392918 w 2253933"/>
                <a:gd name="connsiteY3" fmla="*/ 0 h 873139"/>
                <a:gd name="connsiteX4" fmla="*/ 2239865 w 2253933"/>
                <a:gd name="connsiteY4" fmla="*/ 0 h 873139"/>
                <a:gd name="connsiteX0" fmla="*/ 2253933 w 2253933"/>
                <a:gd name="connsiteY0" fmla="*/ 873139 h 909285"/>
                <a:gd name="connsiteX1" fmla="*/ 0 w 2253933"/>
                <a:gd name="connsiteY1" fmla="*/ 909285 h 909285"/>
                <a:gd name="connsiteX2" fmla="*/ 0 w 2253933"/>
                <a:gd name="connsiteY2" fmla="*/ 392918 h 909285"/>
                <a:gd name="connsiteX3" fmla="*/ 392918 w 2253933"/>
                <a:gd name="connsiteY3" fmla="*/ 0 h 909285"/>
                <a:gd name="connsiteX4" fmla="*/ 2239865 w 2253933"/>
                <a:gd name="connsiteY4" fmla="*/ 0 h 909285"/>
                <a:gd name="connsiteX0" fmla="*/ 2113256 w 2239865"/>
                <a:gd name="connsiteY0" fmla="*/ 922376 h 922376"/>
                <a:gd name="connsiteX1" fmla="*/ 0 w 2239865"/>
                <a:gd name="connsiteY1" fmla="*/ 909285 h 922376"/>
                <a:gd name="connsiteX2" fmla="*/ 0 w 2239865"/>
                <a:gd name="connsiteY2" fmla="*/ 392918 h 922376"/>
                <a:gd name="connsiteX3" fmla="*/ 392918 w 2239865"/>
                <a:gd name="connsiteY3" fmla="*/ 0 h 922376"/>
                <a:gd name="connsiteX4" fmla="*/ 2239865 w 2239865"/>
                <a:gd name="connsiteY4" fmla="*/ 0 h 922376"/>
                <a:gd name="connsiteX0" fmla="*/ 2113256 w 2113256"/>
                <a:gd name="connsiteY0" fmla="*/ 922376 h 922376"/>
                <a:gd name="connsiteX1" fmla="*/ 0 w 2113256"/>
                <a:gd name="connsiteY1" fmla="*/ 909285 h 922376"/>
                <a:gd name="connsiteX2" fmla="*/ 0 w 2113256"/>
                <a:gd name="connsiteY2" fmla="*/ 392918 h 922376"/>
                <a:gd name="connsiteX3" fmla="*/ 392918 w 2113256"/>
                <a:gd name="connsiteY3" fmla="*/ 0 h 922376"/>
                <a:gd name="connsiteX4" fmla="*/ 2099188 w 2113256"/>
                <a:gd name="connsiteY4" fmla="*/ 0 h 922376"/>
                <a:gd name="connsiteX0" fmla="*/ 2113256 w 2148425"/>
                <a:gd name="connsiteY0" fmla="*/ 922376 h 922376"/>
                <a:gd name="connsiteX1" fmla="*/ 0 w 2148425"/>
                <a:gd name="connsiteY1" fmla="*/ 909285 h 922376"/>
                <a:gd name="connsiteX2" fmla="*/ 0 w 2148425"/>
                <a:gd name="connsiteY2" fmla="*/ 392918 h 922376"/>
                <a:gd name="connsiteX3" fmla="*/ 392918 w 2148425"/>
                <a:gd name="connsiteY3" fmla="*/ 0 h 922376"/>
                <a:gd name="connsiteX4" fmla="*/ 2148425 w 2148425"/>
                <a:gd name="connsiteY4" fmla="*/ 0 h 922376"/>
                <a:gd name="connsiteX0" fmla="*/ 2113256 w 2113256"/>
                <a:gd name="connsiteY0" fmla="*/ 936444 h 936444"/>
                <a:gd name="connsiteX1" fmla="*/ 0 w 2113256"/>
                <a:gd name="connsiteY1" fmla="*/ 923353 h 936444"/>
                <a:gd name="connsiteX2" fmla="*/ 0 w 2113256"/>
                <a:gd name="connsiteY2" fmla="*/ 406986 h 936444"/>
                <a:gd name="connsiteX3" fmla="*/ 392918 w 2113256"/>
                <a:gd name="connsiteY3" fmla="*/ 14068 h 936444"/>
                <a:gd name="connsiteX4" fmla="*/ 2085120 w 2113256"/>
                <a:gd name="connsiteY4" fmla="*/ 0 h 936444"/>
                <a:gd name="connsiteX0" fmla="*/ 2113256 w 2127323"/>
                <a:gd name="connsiteY0" fmla="*/ 936444 h 936444"/>
                <a:gd name="connsiteX1" fmla="*/ 0 w 2127323"/>
                <a:gd name="connsiteY1" fmla="*/ 923353 h 936444"/>
                <a:gd name="connsiteX2" fmla="*/ 0 w 2127323"/>
                <a:gd name="connsiteY2" fmla="*/ 406986 h 936444"/>
                <a:gd name="connsiteX3" fmla="*/ 392918 w 2127323"/>
                <a:gd name="connsiteY3" fmla="*/ 14068 h 936444"/>
                <a:gd name="connsiteX4" fmla="*/ 2127323 w 2127323"/>
                <a:gd name="connsiteY4" fmla="*/ 0 h 936444"/>
                <a:gd name="connsiteX0" fmla="*/ 2134357 w 2134357"/>
                <a:gd name="connsiteY0" fmla="*/ 915343 h 923353"/>
                <a:gd name="connsiteX1" fmla="*/ 0 w 2134357"/>
                <a:gd name="connsiteY1" fmla="*/ 923353 h 923353"/>
                <a:gd name="connsiteX2" fmla="*/ 0 w 2134357"/>
                <a:gd name="connsiteY2" fmla="*/ 406986 h 923353"/>
                <a:gd name="connsiteX3" fmla="*/ 392918 w 2134357"/>
                <a:gd name="connsiteY3" fmla="*/ 14068 h 923353"/>
                <a:gd name="connsiteX4" fmla="*/ 2127323 w 2134357"/>
                <a:gd name="connsiteY4" fmla="*/ 0 h 923353"/>
                <a:gd name="connsiteX0" fmla="*/ 2134357 w 2134357"/>
                <a:gd name="connsiteY0" fmla="*/ 901275 h 909285"/>
                <a:gd name="connsiteX1" fmla="*/ 0 w 2134357"/>
                <a:gd name="connsiteY1" fmla="*/ 909285 h 909285"/>
                <a:gd name="connsiteX2" fmla="*/ 0 w 2134357"/>
                <a:gd name="connsiteY2" fmla="*/ 392918 h 909285"/>
                <a:gd name="connsiteX3" fmla="*/ 392918 w 2134357"/>
                <a:gd name="connsiteY3" fmla="*/ 0 h 909285"/>
                <a:gd name="connsiteX4" fmla="*/ 2132119 w 2134357"/>
                <a:gd name="connsiteY4" fmla="*/ 219 h 909285"/>
                <a:gd name="connsiteX0" fmla="*/ 2134357 w 2134357"/>
                <a:gd name="connsiteY0" fmla="*/ 910800 h 910800"/>
                <a:gd name="connsiteX1" fmla="*/ 0 w 2134357"/>
                <a:gd name="connsiteY1" fmla="*/ 909285 h 910800"/>
                <a:gd name="connsiteX2" fmla="*/ 0 w 2134357"/>
                <a:gd name="connsiteY2" fmla="*/ 392918 h 910800"/>
                <a:gd name="connsiteX3" fmla="*/ 392918 w 2134357"/>
                <a:gd name="connsiteY3" fmla="*/ 0 h 910800"/>
                <a:gd name="connsiteX4" fmla="*/ 2132119 w 2134357"/>
                <a:gd name="connsiteY4" fmla="*/ 219 h 9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4357" h="910800">
                  <a:moveTo>
                    <a:pt x="2134357" y="910800"/>
                  </a:moveTo>
                  <a:lnTo>
                    <a:pt x="0" y="909285"/>
                  </a:lnTo>
                  <a:lnTo>
                    <a:pt x="0" y="392918"/>
                  </a:lnTo>
                  <a:cubicBezTo>
                    <a:pt x="0" y="175915"/>
                    <a:pt x="175915" y="0"/>
                    <a:pt x="392918" y="0"/>
                  </a:cubicBezTo>
                  <a:lnTo>
                    <a:pt x="2132119" y="219"/>
                  </a:lnTo>
                </a:path>
              </a:pathLst>
            </a:custGeom>
            <a:solidFill>
              <a:schemeClr val="bg1"/>
            </a:solidFill>
            <a:ln w="1270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500" b="0" i="0" u="none" strike="noStrike" cap="none" normalizeH="0" baseline="0">
                <a:ln>
                  <a:noFill/>
                </a:ln>
                <a:solidFill>
                  <a:srgbClr val="0028AD"/>
                </a:solidFill>
                <a:effectLst/>
                <a:latin typeface="Arial" charset="0"/>
              </a:endParaRPr>
            </a:p>
          </p:txBody>
        </p:sp>
        <p:pic>
          <p:nvPicPr>
            <p:cNvPr id="4154" name="Picture 58" descr="Logo-RGB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3138" y="6134100"/>
              <a:ext cx="1323975" cy="40798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855263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F460671-EB32-C145-979C-2F8AB1862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79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F460671-EB32-C145-979C-2F8AB1862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3362EAD2-2E2B-014E-914F-78519EB090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21D6943-685D-3848-A86A-4663761833FC}"/>
              </a:ext>
            </a:extLst>
          </p:cNvPr>
          <p:cNvGrpSpPr/>
          <p:nvPr userDrawn="1"/>
        </p:nvGrpSpPr>
        <p:grpSpPr>
          <a:xfrm>
            <a:off x="7024687" y="5947200"/>
            <a:ext cx="2119313" cy="910800"/>
            <a:chOff x="7024687" y="5947200"/>
            <a:chExt cx="2119313" cy="910800"/>
          </a:xfrm>
        </p:grpSpPr>
        <p:sp>
          <p:nvSpPr>
            <p:cNvPr id="8" name="Abgerundetes Rechteck 2"/>
            <p:cNvSpPr/>
            <p:nvPr userDrawn="1"/>
          </p:nvSpPr>
          <p:spPr bwMode="auto">
            <a:xfrm>
              <a:off x="7024687" y="5947200"/>
              <a:ext cx="2119313" cy="910800"/>
            </a:xfrm>
            <a:custGeom>
              <a:avLst/>
              <a:gdLst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632783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2632783 w 2632783"/>
                <a:gd name="connsiteY0" fmla="*/ 867082 h 1260000"/>
                <a:gd name="connsiteX1" fmla="*/ 2239865 w 2632783"/>
                <a:gd name="connsiteY1" fmla="*/ 1260000 h 1260000"/>
                <a:gd name="connsiteX2" fmla="*/ 392918 w 2632783"/>
                <a:gd name="connsiteY2" fmla="*/ 1260000 h 1260000"/>
                <a:gd name="connsiteX3" fmla="*/ 0 w 2632783"/>
                <a:gd name="connsiteY3" fmla="*/ 867082 h 1260000"/>
                <a:gd name="connsiteX4" fmla="*/ 0 w 2632783"/>
                <a:gd name="connsiteY4" fmla="*/ 392918 h 1260000"/>
                <a:gd name="connsiteX5" fmla="*/ 392918 w 2632783"/>
                <a:gd name="connsiteY5" fmla="*/ 0 h 1260000"/>
                <a:gd name="connsiteX6" fmla="*/ 2239865 w 2632783"/>
                <a:gd name="connsiteY6" fmla="*/ 0 h 1260000"/>
                <a:gd name="connsiteX7" fmla="*/ 2499140 w 2632783"/>
                <a:gd name="connsiteY7" fmla="*/ 484358 h 1260000"/>
                <a:gd name="connsiteX0" fmla="*/ 2239865 w 2499140"/>
                <a:gd name="connsiteY0" fmla="*/ 1260000 h 1260000"/>
                <a:gd name="connsiteX1" fmla="*/ 392918 w 2499140"/>
                <a:gd name="connsiteY1" fmla="*/ 1260000 h 1260000"/>
                <a:gd name="connsiteX2" fmla="*/ 0 w 2499140"/>
                <a:gd name="connsiteY2" fmla="*/ 867082 h 1260000"/>
                <a:gd name="connsiteX3" fmla="*/ 0 w 2499140"/>
                <a:gd name="connsiteY3" fmla="*/ 392918 h 1260000"/>
                <a:gd name="connsiteX4" fmla="*/ 392918 w 2499140"/>
                <a:gd name="connsiteY4" fmla="*/ 0 h 1260000"/>
                <a:gd name="connsiteX5" fmla="*/ 2239865 w 2499140"/>
                <a:gd name="connsiteY5" fmla="*/ 0 h 1260000"/>
                <a:gd name="connsiteX6" fmla="*/ 2499140 w 2499140"/>
                <a:gd name="connsiteY6" fmla="*/ 484358 h 1260000"/>
                <a:gd name="connsiteX0" fmla="*/ 2239865 w 2239865"/>
                <a:gd name="connsiteY0" fmla="*/ 1260000 h 1260000"/>
                <a:gd name="connsiteX1" fmla="*/ 392918 w 2239865"/>
                <a:gd name="connsiteY1" fmla="*/ 1260000 h 1260000"/>
                <a:gd name="connsiteX2" fmla="*/ 0 w 2239865"/>
                <a:gd name="connsiteY2" fmla="*/ 867082 h 1260000"/>
                <a:gd name="connsiteX3" fmla="*/ 0 w 2239865"/>
                <a:gd name="connsiteY3" fmla="*/ 392918 h 1260000"/>
                <a:gd name="connsiteX4" fmla="*/ 392918 w 2239865"/>
                <a:gd name="connsiteY4" fmla="*/ 0 h 1260000"/>
                <a:gd name="connsiteX5" fmla="*/ 2239865 w 2239865"/>
                <a:gd name="connsiteY5" fmla="*/ 0 h 1260000"/>
                <a:gd name="connsiteX0" fmla="*/ 2239865 w 2239865"/>
                <a:gd name="connsiteY0" fmla="*/ 1260000 h 1260000"/>
                <a:gd name="connsiteX1" fmla="*/ 0 w 2239865"/>
                <a:gd name="connsiteY1" fmla="*/ 867082 h 1260000"/>
                <a:gd name="connsiteX2" fmla="*/ 0 w 2239865"/>
                <a:gd name="connsiteY2" fmla="*/ 392918 h 1260000"/>
                <a:gd name="connsiteX3" fmla="*/ 392918 w 2239865"/>
                <a:gd name="connsiteY3" fmla="*/ 0 h 1260000"/>
                <a:gd name="connsiteX4" fmla="*/ 2239865 w 2239865"/>
                <a:gd name="connsiteY4" fmla="*/ 0 h 1260000"/>
                <a:gd name="connsiteX0" fmla="*/ 2239865 w 2239865"/>
                <a:gd name="connsiteY0" fmla="*/ 894240 h 894240"/>
                <a:gd name="connsiteX1" fmla="*/ 0 w 2239865"/>
                <a:gd name="connsiteY1" fmla="*/ 867082 h 894240"/>
                <a:gd name="connsiteX2" fmla="*/ 0 w 2239865"/>
                <a:gd name="connsiteY2" fmla="*/ 392918 h 894240"/>
                <a:gd name="connsiteX3" fmla="*/ 392918 w 2239865"/>
                <a:gd name="connsiteY3" fmla="*/ 0 h 894240"/>
                <a:gd name="connsiteX4" fmla="*/ 2239865 w 2239865"/>
                <a:gd name="connsiteY4" fmla="*/ 0 h 894240"/>
                <a:gd name="connsiteX0" fmla="*/ 2253933 w 2253933"/>
                <a:gd name="connsiteY0" fmla="*/ 873139 h 873139"/>
                <a:gd name="connsiteX1" fmla="*/ 0 w 2253933"/>
                <a:gd name="connsiteY1" fmla="*/ 867082 h 873139"/>
                <a:gd name="connsiteX2" fmla="*/ 0 w 2253933"/>
                <a:gd name="connsiteY2" fmla="*/ 392918 h 873139"/>
                <a:gd name="connsiteX3" fmla="*/ 392918 w 2253933"/>
                <a:gd name="connsiteY3" fmla="*/ 0 h 873139"/>
                <a:gd name="connsiteX4" fmla="*/ 2239865 w 2253933"/>
                <a:gd name="connsiteY4" fmla="*/ 0 h 873139"/>
                <a:gd name="connsiteX0" fmla="*/ 2253933 w 2253933"/>
                <a:gd name="connsiteY0" fmla="*/ 873139 h 909285"/>
                <a:gd name="connsiteX1" fmla="*/ 0 w 2253933"/>
                <a:gd name="connsiteY1" fmla="*/ 909285 h 909285"/>
                <a:gd name="connsiteX2" fmla="*/ 0 w 2253933"/>
                <a:gd name="connsiteY2" fmla="*/ 392918 h 909285"/>
                <a:gd name="connsiteX3" fmla="*/ 392918 w 2253933"/>
                <a:gd name="connsiteY3" fmla="*/ 0 h 909285"/>
                <a:gd name="connsiteX4" fmla="*/ 2239865 w 2253933"/>
                <a:gd name="connsiteY4" fmla="*/ 0 h 909285"/>
                <a:gd name="connsiteX0" fmla="*/ 2113256 w 2239865"/>
                <a:gd name="connsiteY0" fmla="*/ 922376 h 922376"/>
                <a:gd name="connsiteX1" fmla="*/ 0 w 2239865"/>
                <a:gd name="connsiteY1" fmla="*/ 909285 h 922376"/>
                <a:gd name="connsiteX2" fmla="*/ 0 w 2239865"/>
                <a:gd name="connsiteY2" fmla="*/ 392918 h 922376"/>
                <a:gd name="connsiteX3" fmla="*/ 392918 w 2239865"/>
                <a:gd name="connsiteY3" fmla="*/ 0 h 922376"/>
                <a:gd name="connsiteX4" fmla="*/ 2239865 w 2239865"/>
                <a:gd name="connsiteY4" fmla="*/ 0 h 922376"/>
                <a:gd name="connsiteX0" fmla="*/ 2113256 w 2113256"/>
                <a:gd name="connsiteY0" fmla="*/ 922376 h 922376"/>
                <a:gd name="connsiteX1" fmla="*/ 0 w 2113256"/>
                <a:gd name="connsiteY1" fmla="*/ 909285 h 922376"/>
                <a:gd name="connsiteX2" fmla="*/ 0 w 2113256"/>
                <a:gd name="connsiteY2" fmla="*/ 392918 h 922376"/>
                <a:gd name="connsiteX3" fmla="*/ 392918 w 2113256"/>
                <a:gd name="connsiteY3" fmla="*/ 0 h 922376"/>
                <a:gd name="connsiteX4" fmla="*/ 2099188 w 2113256"/>
                <a:gd name="connsiteY4" fmla="*/ 0 h 922376"/>
                <a:gd name="connsiteX0" fmla="*/ 2113256 w 2148425"/>
                <a:gd name="connsiteY0" fmla="*/ 922376 h 922376"/>
                <a:gd name="connsiteX1" fmla="*/ 0 w 2148425"/>
                <a:gd name="connsiteY1" fmla="*/ 909285 h 922376"/>
                <a:gd name="connsiteX2" fmla="*/ 0 w 2148425"/>
                <a:gd name="connsiteY2" fmla="*/ 392918 h 922376"/>
                <a:gd name="connsiteX3" fmla="*/ 392918 w 2148425"/>
                <a:gd name="connsiteY3" fmla="*/ 0 h 922376"/>
                <a:gd name="connsiteX4" fmla="*/ 2148425 w 2148425"/>
                <a:gd name="connsiteY4" fmla="*/ 0 h 922376"/>
                <a:gd name="connsiteX0" fmla="*/ 2113256 w 2113256"/>
                <a:gd name="connsiteY0" fmla="*/ 936444 h 936444"/>
                <a:gd name="connsiteX1" fmla="*/ 0 w 2113256"/>
                <a:gd name="connsiteY1" fmla="*/ 923353 h 936444"/>
                <a:gd name="connsiteX2" fmla="*/ 0 w 2113256"/>
                <a:gd name="connsiteY2" fmla="*/ 406986 h 936444"/>
                <a:gd name="connsiteX3" fmla="*/ 392918 w 2113256"/>
                <a:gd name="connsiteY3" fmla="*/ 14068 h 936444"/>
                <a:gd name="connsiteX4" fmla="*/ 2085120 w 2113256"/>
                <a:gd name="connsiteY4" fmla="*/ 0 h 936444"/>
                <a:gd name="connsiteX0" fmla="*/ 2113256 w 2127323"/>
                <a:gd name="connsiteY0" fmla="*/ 936444 h 936444"/>
                <a:gd name="connsiteX1" fmla="*/ 0 w 2127323"/>
                <a:gd name="connsiteY1" fmla="*/ 923353 h 936444"/>
                <a:gd name="connsiteX2" fmla="*/ 0 w 2127323"/>
                <a:gd name="connsiteY2" fmla="*/ 406986 h 936444"/>
                <a:gd name="connsiteX3" fmla="*/ 392918 w 2127323"/>
                <a:gd name="connsiteY3" fmla="*/ 14068 h 936444"/>
                <a:gd name="connsiteX4" fmla="*/ 2127323 w 2127323"/>
                <a:gd name="connsiteY4" fmla="*/ 0 h 936444"/>
                <a:gd name="connsiteX0" fmla="*/ 2134357 w 2134357"/>
                <a:gd name="connsiteY0" fmla="*/ 915343 h 923353"/>
                <a:gd name="connsiteX1" fmla="*/ 0 w 2134357"/>
                <a:gd name="connsiteY1" fmla="*/ 923353 h 923353"/>
                <a:gd name="connsiteX2" fmla="*/ 0 w 2134357"/>
                <a:gd name="connsiteY2" fmla="*/ 406986 h 923353"/>
                <a:gd name="connsiteX3" fmla="*/ 392918 w 2134357"/>
                <a:gd name="connsiteY3" fmla="*/ 14068 h 923353"/>
                <a:gd name="connsiteX4" fmla="*/ 2127323 w 2134357"/>
                <a:gd name="connsiteY4" fmla="*/ 0 h 923353"/>
                <a:gd name="connsiteX0" fmla="*/ 2134357 w 2134357"/>
                <a:gd name="connsiteY0" fmla="*/ 901275 h 909285"/>
                <a:gd name="connsiteX1" fmla="*/ 0 w 2134357"/>
                <a:gd name="connsiteY1" fmla="*/ 909285 h 909285"/>
                <a:gd name="connsiteX2" fmla="*/ 0 w 2134357"/>
                <a:gd name="connsiteY2" fmla="*/ 392918 h 909285"/>
                <a:gd name="connsiteX3" fmla="*/ 392918 w 2134357"/>
                <a:gd name="connsiteY3" fmla="*/ 0 h 909285"/>
                <a:gd name="connsiteX4" fmla="*/ 2132119 w 2134357"/>
                <a:gd name="connsiteY4" fmla="*/ 219 h 909285"/>
                <a:gd name="connsiteX0" fmla="*/ 2134357 w 2134357"/>
                <a:gd name="connsiteY0" fmla="*/ 910800 h 910800"/>
                <a:gd name="connsiteX1" fmla="*/ 0 w 2134357"/>
                <a:gd name="connsiteY1" fmla="*/ 909285 h 910800"/>
                <a:gd name="connsiteX2" fmla="*/ 0 w 2134357"/>
                <a:gd name="connsiteY2" fmla="*/ 392918 h 910800"/>
                <a:gd name="connsiteX3" fmla="*/ 392918 w 2134357"/>
                <a:gd name="connsiteY3" fmla="*/ 0 h 910800"/>
                <a:gd name="connsiteX4" fmla="*/ 2132119 w 2134357"/>
                <a:gd name="connsiteY4" fmla="*/ 219 h 9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4357" h="910800">
                  <a:moveTo>
                    <a:pt x="2134357" y="910800"/>
                  </a:moveTo>
                  <a:lnTo>
                    <a:pt x="0" y="909285"/>
                  </a:lnTo>
                  <a:lnTo>
                    <a:pt x="0" y="392918"/>
                  </a:lnTo>
                  <a:cubicBezTo>
                    <a:pt x="0" y="175915"/>
                    <a:pt x="175915" y="0"/>
                    <a:pt x="392918" y="0"/>
                  </a:cubicBezTo>
                  <a:lnTo>
                    <a:pt x="2132119" y="219"/>
                  </a:lnTo>
                </a:path>
              </a:pathLst>
            </a:custGeom>
            <a:solidFill>
              <a:schemeClr val="bg1"/>
            </a:solidFill>
            <a:ln w="1270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500" b="0" i="0" u="none" strike="noStrike" cap="none" normalizeH="0" baseline="0">
                <a:ln>
                  <a:noFill/>
                </a:ln>
                <a:solidFill>
                  <a:srgbClr val="0028AD"/>
                </a:solidFill>
                <a:effectLst/>
                <a:latin typeface="Arial" charset="0"/>
              </a:endParaRPr>
            </a:p>
          </p:txBody>
        </p:sp>
        <p:pic>
          <p:nvPicPr>
            <p:cNvPr id="4154" name="Picture 58" descr="Logo-RGB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3138" y="6134100"/>
              <a:ext cx="1323975" cy="40798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79941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Lap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F460671-EB32-C145-979C-2F8AB1862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346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F460671-EB32-C145-979C-2F8AB1862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FD09859D-9C4E-6148-A3A0-21B054B5C5D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15"/>
            <a:ext cx="9144000" cy="685737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21D6943-685D-3848-A86A-4663761833FC}"/>
              </a:ext>
            </a:extLst>
          </p:cNvPr>
          <p:cNvGrpSpPr/>
          <p:nvPr userDrawn="1"/>
        </p:nvGrpSpPr>
        <p:grpSpPr>
          <a:xfrm>
            <a:off x="7024687" y="5947200"/>
            <a:ext cx="2119313" cy="910800"/>
            <a:chOff x="7024687" y="5947200"/>
            <a:chExt cx="2119313" cy="910800"/>
          </a:xfrm>
        </p:grpSpPr>
        <p:sp>
          <p:nvSpPr>
            <p:cNvPr id="8" name="Abgerundetes Rechteck 2"/>
            <p:cNvSpPr/>
            <p:nvPr userDrawn="1"/>
          </p:nvSpPr>
          <p:spPr bwMode="auto">
            <a:xfrm>
              <a:off x="7024687" y="5947200"/>
              <a:ext cx="2119313" cy="910800"/>
            </a:xfrm>
            <a:custGeom>
              <a:avLst/>
              <a:gdLst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632783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0 w 2632783"/>
                <a:gd name="connsiteY0" fmla="*/ 392918 h 1260000"/>
                <a:gd name="connsiteX1" fmla="*/ 392918 w 2632783"/>
                <a:gd name="connsiteY1" fmla="*/ 0 h 1260000"/>
                <a:gd name="connsiteX2" fmla="*/ 2239865 w 2632783"/>
                <a:gd name="connsiteY2" fmla="*/ 0 h 1260000"/>
                <a:gd name="connsiteX3" fmla="*/ 2407700 w 2632783"/>
                <a:gd name="connsiteY3" fmla="*/ 392918 h 1260000"/>
                <a:gd name="connsiteX4" fmla="*/ 2632783 w 2632783"/>
                <a:gd name="connsiteY4" fmla="*/ 867082 h 1260000"/>
                <a:gd name="connsiteX5" fmla="*/ 2239865 w 2632783"/>
                <a:gd name="connsiteY5" fmla="*/ 1260000 h 1260000"/>
                <a:gd name="connsiteX6" fmla="*/ 392918 w 2632783"/>
                <a:gd name="connsiteY6" fmla="*/ 1260000 h 1260000"/>
                <a:gd name="connsiteX7" fmla="*/ 0 w 2632783"/>
                <a:gd name="connsiteY7" fmla="*/ 867082 h 1260000"/>
                <a:gd name="connsiteX8" fmla="*/ 0 w 2632783"/>
                <a:gd name="connsiteY8" fmla="*/ 392918 h 1260000"/>
                <a:gd name="connsiteX0" fmla="*/ 2632783 w 2632783"/>
                <a:gd name="connsiteY0" fmla="*/ 867082 h 1260000"/>
                <a:gd name="connsiteX1" fmla="*/ 2239865 w 2632783"/>
                <a:gd name="connsiteY1" fmla="*/ 1260000 h 1260000"/>
                <a:gd name="connsiteX2" fmla="*/ 392918 w 2632783"/>
                <a:gd name="connsiteY2" fmla="*/ 1260000 h 1260000"/>
                <a:gd name="connsiteX3" fmla="*/ 0 w 2632783"/>
                <a:gd name="connsiteY3" fmla="*/ 867082 h 1260000"/>
                <a:gd name="connsiteX4" fmla="*/ 0 w 2632783"/>
                <a:gd name="connsiteY4" fmla="*/ 392918 h 1260000"/>
                <a:gd name="connsiteX5" fmla="*/ 392918 w 2632783"/>
                <a:gd name="connsiteY5" fmla="*/ 0 h 1260000"/>
                <a:gd name="connsiteX6" fmla="*/ 2239865 w 2632783"/>
                <a:gd name="connsiteY6" fmla="*/ 0 h 1260000"/>
                <a:gd name="connsiteX7" fmla="*/ 2499140 w 2632783"/>
                <a:gd name="connsiteY7" fmla="*/ 484358 h 1260000"/>
                <a:gd name="connsiteX0" fmla="*/ 2239865 w 2499140"/>
                <a:gd name="connsiteY0" fmla="*/ 1260000 h 1260000"/>
                <a:gd name="connsiteX1" fmla="*/ 392918 w 2499140"/>
                <a:gd name="connsiteY1" fmla="*/ 1260000 h 1260000"/>
                <a:gd name="connsiteX2" fmla="*/ 0 w 2499140"/>
                <a:gd name="connsiteY2" fmla="*/ 867082 h 1260000"/>
                <a:gd name="connsiteX3" fmla="*/ 0 w 2499140"/>
                <a:gd name="connsiteY3" fmla="*/ 392918 h 1260000"/>
                <a:gd name="connsiteX4" fmla="*/ 392918 w 2499140"/>
                <a:gd name="connsiteY4" fmla="*/ 0 h 1260000"/>
                <a:gd name="connsiteX5" fmla="*/ 2239865 w 2499140"/>
                <a:gd name="connsiteY5" fmla="*/ 0 h 1260000"/>
                <a:gd name="connsiteX6" fmla="*/ 2499140 w 2499140"/>
                <a:gd name="connsiteY6" fmla="*/ 484358 h 1260000"/>
                <a:gd name="connsiteX0" fmla="*/ 2239865 w 2239865"/>
                <a:gd name="connsiteY0" fmla="*/ 1260000 h 1260000"/>
                <a:gd name="connsiteX1" fmla="*/ 392918 w 2239865"/>
                <a:gd name="connsiteY1" fmla="*/ 1260000 h 1260000"/>
                <a:gd name="connsiteX2" fmla="*/ 0 w 2239865"/>
                <a:gd name="connsiteY2" fmla="*/ 867082 h 1260000"/>
                <a:gd name="connsiteX3" fmla="*/ 0 w 2239865"/>
                <a:gd name="connsiteY3" fmla="*/ 392918 h 1260000"/>
                <a:gd name="connsiteX4" fmla="*/ 392918 w 2239865"/>
                <a:gd name="connsiteY4" fmla="*/ 0 h 1260000"/>
                <a:gd name="connsiteX5" fmla="*/ 2239865 w 2239865"/>
                <a:gd name="connsiteY5" fmla="*/ 0 h 1260000"/>
                <a:gd name="connsiteX0" fmla="*/ 2239865 w 2239865"/>
                <a:gd name="connsiteY0" fmla="*/ 1260000 h 1260000"/>
                <a:gd name="connsiteX1" fmla="*/ 0 w 2239865"/>
                <a:gd name="connsiteY1" fmla="*/ 867082 h 1260000"/>
                <a:gd name="connsiteX2" fmla="*/ 0 w 2239865"/>
                <a:gd name="connsiteY2" fmla="*/ 392918 h 1260000"/>
                <a:gd name="connsiteX3" fmla="*/ 392918 w 2239865"/>
                <a:gd name="connsiteY3" fmla="*/ 0 h 1260000"/>
                <a:gd name="connsiteX4" fmla="*/ 2239865 w 2239865"/>
                <a:gd name="connsiteY4" fmla="*/ 0 h 1260000"/>
                <a:gd name="connsiteX0" fmla="*/ 2239865 w 2239865"/>
                <a:gd name="connsiteY0" fmla="*/ 894240 h 894240"/>
                <a:gd name="connsiteX1" fmla="*/ 0 w 2239865"/>
                <a:gd name="connsiteY1" fmla="*/ 867082 h 894240"/>
                <a:gd name="connsiteX2" fmla="*/ 0 w 2239865"/>
                <a:gd name="connsiteY2" fmla="*/ 392918 h 894240"/>
                <a:gd name="connsiteX3" fmla="*/ 392918 w 2239865"/>
                <a:gd name="connsiteY3" fmla="*/ 0 h 894240"/>
                <a:gd name="connsiteX4" fmla="*/ 2239865 w 2239865"/>
                <a:gd name="connsiteY4" fmla="*/ 0 h 894240"/>
                <a:gd name="connsiteX0" fmla="*/ 2253933 w 2253933"/>
                <a:gd name="connsiteY0" fmla="*/ 873139 h 873139"/>
                <a:gd name="connsiteX1" fmla="*/ 0 w 2253933"/>
                <a:gd name="connsiteY1" fmla="*/ 867082 h 873139"/>
                <a:gd name="connsiteX2" fmla="*/ 0 w 2253933"/>
                <a:gd name="connsiteY2" fmla="*/ 392918 h 873139"/>
                <a:gd name="connsiteX3" fmla="*/ 392918 w 2253933"/>
                <a:gd name="connsiteY3" fmla="*/ 0 h 873139"/>
                <a:gd name="connsiteX4" fmla="*/ 2239865 w 2253933"/>
                <a:gd name="connsiteY4" fmla="*/ 0 h 873139"/>
                <a:gd name="connsiteX0" fmla="*/ 2253933 w 2253933"/>
                <a:gd name="connsiteY0" fmla="*/ 873139 h 909285"/>
                <a:gd name="connsiteX1" fmla="*/ 0 w 2253933"/>
                <a:gd name="connsiteY1" fmla="*/ 909285 h 909285"/>
                <a:gd name="connsiteX2" fmla="*/ 0 w 2253933"/>
                <a:gd name="connsiteY2" fmla="*/ 392918 h 909285"/>
                <a:gd name="connsiteX3" fmla="*/ 392918 w 2253933"/>
                <a:gd name="connsiteY3" fmla="*/ 0 h 909285"/>
                <a:gd name="connsiteX4" fmla="*/ 2239865 w 2253933"/>
                <a:gd name="connsiteY4" fmla="*/ 0 h 909285"/>
                <a:gd name="connsiteX0" fmla="*/ 2113256 w 2239865"/>
                <a:gd name="connsiteY0" fmla="*/ 922376 h 922376"/>
                <a:gd name="connsiteX1" fmla="*/ 0 w 2239865"/>
                <a:gd name="connsiteY1" fmla="*/ 909285 h 922376"/>
                <a:gd name="connsiteX2" fmla="*/ 0 w 2239865"/>
                <a:gd name="connsiteY2" fmla="*/ 392918 h 922376"/>
                <a:gd name="connsiteX3" fmla="*/ 392918 w 2239865"/>
                <a:gd name="connsiteY3" fmla="*/ 0 h 922376"/>
                <a:gd name="connsiteX4" fmla="*/ 2239865 w 2239865"/>
                <a:gd name="connsiteY4" fmla="*/ 0 h 922376"/>
                <a:gd name="connsiteX0" fmla="*/ 2113256 w 2113256"/>
                <a:gd name="connsiteY0" fmla="*/ 922376 h 922376"/>
                <a:gd name="connsiteX1" fmla="*/ 0 w 2113256"/>
                <a:gd name="connsiteY1" fmla="*/ 909285 h 922376"/>
                <a:gd name="connsiteX2" fmla="*/ 0 w 2113256"/>
                <a:gd name="connsiteY2" fmla="*/ 392918 h 922376"/>
                <a:gd name="connsiteX3" fmla="*/ 392918 w 2113256"/>
                <a:gd name="connsiteY3" fmla="*/ 0 h 922376"/>
                <a:gd name="connsiteX4" fmla="*/ 2099188 w 2113256"/>
                <a:gd name="connsiteY4" fmla="*/ 0 h 922376"/>
                <a:gd name="connsiteX0" fmla="*/ 2113256 w 2148425"/>
                <a:gd name="connsiteY0" fmla="*/ 922376 h 922376"/>
                <a:gd name="connsiteX1" fmla="*/ 0 w 2148425"/>
                <a:gd name="connsiteY1" fmla="*/ 909285 h 922376"/>
                <a:gd name="connsiteX2" fmla="*/ 0 w 2148425"/>
                <a:gd name="connsiteY2" fmla="*/ 392918 h 922376"/>
                <a:gd name="connsiteX3" fmla="*/ 392918 w 2148425"/>
                <a:gd name="connsiteY3" fmla="*/ 0 h 922376"/>
                <a:gd name="connsiteX4" fmla="*/ 2148425 w 2148425"/>
                <a:gd name="connsiteY4" fmla="*/ 0 h 922376"/>
                <a:gd name="connsiteX0" fmla="*/ 2113256 w 2113256"/>
                <a:gd name="connsiteY0" fmla="*/ 936444 h 936444"/>
                <a:gd name="connsiteX1" fmla="*/ 0 w 2113256"/>
                <a:gd name="connsiteY1" fmla="*/ 923353 h 936444"/>
                <a:gd name="connsiteX2" fmla="*/ 0 w 2113256"/>
                <a:gd name="connsiteY2" fmla="*/ 406986 h 936444"/>
                <a:gd name="connsiteX3" fmla="*/ 392918 w 2113256"/>
                <a:gd name="connsiteY3" fmla="*/ 14068 h 936444"/>
                <a:gd name="connsiteX4" fmla="*/ 2085120 w 2113256"/>
                <a:gd name="connsiteY4" fmla="*/ 0 h 936444"/>
                <a:gd name="connsiteX0" fmla="*/ 2113256 w 2127323"/>
                <a:gd name="connsiteY0" fmla="*/ 936444 h 936444"/>
                <a:gd name="connsiteX1" fmla="*/ 0 w 2127323"/>
                <a:gd name="connsiteY1" fmla="*/ 923353 h 936444"/>
                <a:gd name="connsiteX2" fmla="*/ 0 w 2127323"/>
                <a:gd name="connsiteY2" fmla="*/ 406986 h 936444"/>
                <a:gd name="connsiteX3" fmla="*/ 392918 w 2127323"/>
                <a:gd name="connsiteY3" fmla="*/ 14068 h 936444"/>
                <a:gd name="connsiteX4" fmla="*/ 2127323 w 2127323"/>
                <a:gd name="connsiteY4" fmla="*/ 0 h 936444"/>
                <a:gd name="connsiteX0" fmla="*/ 2134357 w 2134357"/>
                <a:gd name="connsiteY0" fmla="*/ 915343 h 923353"/>
                <a:gd name="connsiteX1" fmla="*/ 0 w 2134357"/>
                <a:gd name="connsiteY1" fmla="*/ 923353 h 923353"/>
                <a:gd name="connsiteX2" fmla="*/ 0 w 2134357"/>
                <a:gd name="connsiteY2" fmla="*/ 406986 h 923353"/>
                <a:gd name="connsiteX3" fmla="*/ 392918 w 2134357"/>
                <a:gd name="connsiteY3" fmla="*/ 14068 h 923353"/>
                <a:gd name="connsiteX4" fmla="*/ 2127323 w 2134357"/>
                <a:gd name="connsiteY4" fmla="*/ 0 h 923353"/>
                <a:gd name="connsiteX0" fmla="*/ 2134357 w 2134357"/>
                <a:gd name="connsiteY0" fmla="*/ 901275 h 909285"/>
                <a:gd name="connsiteX1" fmla="*/ 0 w 2134357"/>
                <a:gd name="connsiteY1" fmla="*/ 909285 h 909285"/>
                <a:gd name="connsiteX2" fmla="*/ 0 w 2134357"/>
                <a:gd name="connsiteY2" fmla="*/ 392918 h 909285"/>
                <a:gd name="connsiteX3" fmla="*/ 392918 w 2134357"/>
                <a:gd name="connsiteY3" fmla="*/ 0 h 909285"/>
                <a:gd name="connsiteX4" fmla="*/ 2132119 w 2134357"/>
                <a:gd name="connsiteY4" fmla="*/ 219 h 909285"/>
                <a:gd name="connsiteX0" fmla="*/ 2134357 w 2134357"/>
                <a:gd name="connsiteY0" fmla="*/ 910800 h 910800"/>
                <a:gd name="connsiteX1" fmla="*/ 0 w 2134357"/>
                <a:gd name="connsiteY1" fmla="*/ 909285 h 910800"/>
                <a:gd name="connsiteX2" fmla="*/ 0 w 2134357"/>
                <a:gd name="connsiteY2" fmla="*/ 392918 h 910800"/>
                <a:gd name="connsiteX3" fmla="*/ 392918 w 2134357"/>
                <a:gd name="connsiteY3" fmla="*/ 0 h 910800"/>
                <a:gd name="connsiteX4" fmla="*/ 2132119 w 2134357"/>
                <a:gd name="connsiteY4" fmla="*/ 219 h 9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4357" h="910800">
                  <a:moveTo>
                    <a:pt x="2134357" y="910800"/>
                  </a:moveTo>
                  <a:lnTo>
                    <a:pt x="0" y="909285"/>
                  </a:lnTo>
                  <a:lnTo>
                    <a:pt x="0" y="392918"/>
                  </a:lnTo>
                  <a:cubicBezTo>
                    <a:pt x="0" y="175915"/>
                    <a:pt x="175915" y="0"/>
                    <a:pt x="392918" y="0"/>
                  </a:cubicBezTo>
                  <a:lnTo>
                    <a:pt x="2132119" y="219"/>
                  </a:lnTo>
                </a:path>
              </a:pathLst>
            </a:custGeom>
            <a:solidFill>
              <a:schemeClr val="bg1"/>
            </a:solidFill>
            <a:ln w="1270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500" b="0" i="0" u="none" strike="noStrike" cap="none" normalizeH="0" baseline="0">
                <a:ln>
                  <a:noFill/>
                </a:ln>
                <a:solidFill>
                  <a:srgbClr val="0028AD"/>
                </a:solidFill>
                <a:effectLst/>
                <a:latin typeface="Arial" charset="0"/>
              </a:endParaRPr>
            </a:p>
          </p:txBody>
        </p:sp>
        <p:pic>
          <p:nvPicPr>
            <p:cNvPr id="4154" name="Picture 58" descr="Logo-RGB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3138" y="6134100"/>
              <a:ext cx="1323975" cy="40798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6460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5739290-C282-894C-886F-F830BD4C2FC8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6165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311" cy="41901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10150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2C53530-8A50-5C48-94BE-8DFC88AE4E96}"/>
              </a:ext>
            </a:extLst>
          </p:cNvPr>
          <p:cNvSpPr/>
          <p:nvPr userDrawn="1"/>
        </p:nvSpPr>
        <p:spPr bwMode="auto">
          <a:xfrm>
            <a:off x="450001" y="450000"/>
            <a:ext cx="8243999" cy="5922000"/>
          </a:xfrm>
          <a:prstGeom prst="rect">
            <a:avLst/>
          </a:prstGeom>
          <a:noFill/>
          <a:ln w="127000" cap="flat" cmpd="sng" algn="ctr">
            <a:solidFill>
              <a:srgbClr val="00377E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" name="Text Box 149">
            <a:extLst>
              <a:ext uri="{FF2B5EF4-FFF2-40B4-BE49-F238E27FC236}">
                <a16:creationId xmlns:a16="http://schemas.microsoft.com/office/drawing/2014/main" id="{9AC150A0-FB12-D443-B7E2-0CD58CAB5C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96912" y="5740954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Benjamin Buchwitz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1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D51B294-85F2-CC45-A2CF-415AE6C9B5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32637" y="5741671"/>
            <a:ext cx="1324800" cy="40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55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893C6027-0532-1E44-9ACA-EEC459FFB61A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377E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" name="Text Box 149">
            <a:extLst>
              <a:ext uri="{FF2B5EF4-FFF2-40B4-BE49-F238E27FC236}">
                <a16:creationId xmlns:a16="http://schemas.microsoft.com/office/drawing/2014/main" id="{2B375F44-9BAA-C34E-94CF-53BEBFB493C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bg1"/>
                </a:solidFill>
              </a:rPr>
              <a:t>Prof. Dr. Benjamin Buchwitz</a:t>
            </a:r>
            <a:br>
              <a:rPr lang="de-DE" sz="800" dirty="0">
                <a:solidFill>
                  <a:schemeClr val="bg1"/>
                </a:solidFill>
              </a:rPr>
            </a:br>
            <a:r>
              <a:rPr lang="de-DE" sz="800" dirty="0">
                <a:solidFill>
                  <a:schemeClr val="bg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bg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bg1"/>
                </a:solidFill>
              </a:rPr>
              <a:t> (SS 2021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D1E7F8-12D3-A548-BF18-C795FBFEDE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23137" y="6135371"/>
            <a:ext cx="1324800" cy="40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347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-Color 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7E0C5FAF-657D-B448-9F1E-796DE6EBA2F3}"/>
              </a:ext>
            </a:extLst>
          </p:cNvPr>
          <p:cNvSpPr/>
          <p:nvPr userDrawn="1"/>
        </p:nvSpPr>
        <p:spPr bwMode="auto">
          <a:xfrm>
            <a:off x="0" y="0"/>
            <a:ext cx="9144000" cy="1365813"/>
          </a:xfrm>
          <a:prstGeom prst="rect">
            <a:avLst/>
          </a:pr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04E1E97-6D02-8B4F-B1E4-184B55E57FB0}"/>
              </a:ext>
            </a:extLst>
          </p:cNvPr>
          <p:cNvSpPr/>
          <p:nvPr userDrawn="1"/>
        </p:nvSpPr>
        <p:spPr bwMode="auto">
          <a:xfrm>
            <a:off x="0" y="0"/>
            <a:ext cx="3093088" cy="6858000"/>
          </a:xfrm>
          <a:prstGeom prst="rect">
            <a:avLst/>
          </a:prstGeom>
          <a:solidFill>
            <a:srgbClr val="00377E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400" y="184706"/>
            <a:ext cx="5291999" cy="369332"/>
          </a:xfrm>
          <a:prstGeom prst="rect">
            <a:avLst/>
          </a:prstGeom>
        </p:spPr>
        <p:txBody>
          <a:bodyPr lIns="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400" y="583200"/>
            <a:ext cx="5291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84706"/>
            <a:ext cx="2262709" cy="5792348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345088" y="1448672"/>
            <a:ext cx="5291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Text Box 149">
            <a:extLst>
              <a:ext uri="{FF2B5EF4-FFF2-40B4-BE49-F238E27FC236}">
                <a16:creationId xmlns:a16="http://schemas.microsoft.com/office/drawing/2014/main" id="{E12DAFCD-7783-7C42-89E9-36764B8013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bg1"/>
                </a:solidFill>
              </a:rPr>
              <a:t>Prof. Dr. Benjamin Buchwitz</a:t>
            </a:r>
            <a:br>
              <a:rPr lang="de-DE" sz="800" dirty="0">
                <a:solidFill>
                  <a:schemeClr val="bg1"/>
                </a:solidFill>
              </a:rPr>
            </a:br>
            <a:r>
              <a:rPr lang="de-DE" sz="800" dirty="0">
                <a:solidFill>
                  <a:schemeClr val="bg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bg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bg1"/>
                </a:solidFill>
              </a:rPr>
              <a:t> (SS 2021)</a:t>
            </a:r>
          </a:p>
        </p:txBody>
      </p:sp>
    </p:spTree>
    <p:extLst>
      <p:ext uri="{BB962C8B-B14F-4D97-AF65-F5344CB8AC3E}">
        <p14:creationId xmlns:p14="http://schemas.microsoft.com/office/powerpoint/2010/main" val="2934491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Benjamin Buchwitz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</a:t>
            </a:r>
            <a:fld id="{A180C2D9-F697-6B46-9F39-156A7765A726}" type="datetimeyyyy">
              <a:rPr lang="de-DE" sz="800" smtClean="0">
                <a:solidFill>
                  <a:schemeClr val="tx1"/>
                </a:solidFill>
              </a:rPr>
              <a:t>2022</a:t>
            </a:fld>
            <a:r>
              <a:rPr lang="de-DE" sz="800" dirty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E2135B8-51C9-FD43-95DA-238365E93D42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7323137" y="6135371"/>
            <a:ext cx="1324800" cy="40727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65" r:id="rId3"/>
    <p:sldLayoutId id="2147483664" r:id="rId4"/>
    <p:sldLayoutId id="2147483654" r:id="rId5"/>
    <p:sldLayoutId id="2147483655" r:id="rId6"/>
    <p:sldLayoutId id="2147483666" r:id="rId7"/>
    <p:sldLayoutId id="2147483656" r:id="rId8"/>
    <p:sldLayoutId id="2147483657" r:id="rId9"/>
    <p:sldLayoutId id="2147483652" r:id="rId10"/>
    <p:sldLayoutId id="2147483653" r:id="rId11"/>
    <p:sldLayoutId id="2147483662" r:id="rId12"/>
    <p:sldLayoutId id="2147483663" r:id="rId13"/>
    <p:sldLayoutId id="2147483649" r:id="rId14"/>
    <p:sldLayoutId id="2147483661" r:id="rId15"/>
    <p:sldLayoutId id="2147483658" r:id="rId16"/>
    <p:sldLayoutId id="2147483659" r:id="rId17"/>
    <p:sldLayoutId id="2147483660" r:id="rId1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E40516B-9EAD-3C4E-8504-AB9BBF82D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63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8822DEE6-2C58-3B4A-990F-9E5722139A3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GB" sz="2400" b="1" u="none" strike="noStrike" cap="none" normalizeH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FF118A5-E935-284F-9137-73E5C416C700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GB" dirty="0"/>
              <a:t>Data Science (M.Sc.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2A6547-825A-3348-80D8-337E627D07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Prof. </a:t>
            </a:r>
            <a:r>
              <a:rPr lang="en-GB" dirty="0" err="1"/>
              <a:t>Dr.</a:t>
            </a:r>
            <a:r>
              <a:rPr lang="en-GB" dirty="0"/>
              <a:t> Benjamin Buchwitz</a:t>
            </a:r>
          </a:p>
        </p:txBody>
      </p:sp>
    </p:spTree>
    <p:extLst>
      <p:ext uri="{BB962C8B-B14F-4D97-AF65-F5344CB8AC3E}">
        <p14:creationId xmlns:p14="http://schemas.microsoft.com/office/powerpoint/2010/main" val="1262484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B662617-7BE5-A95F-2302-8B5995C0F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F539C3B-1092-5E41-FDCF-AA2C3664A5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402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06DB38-00C2-1CF7-D575-F2F46C218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1AFE2D-A58F-F4B1-CAB0-1178F6E602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228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0295056-3437-0FC4-C33E-D62118E0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9991266-DFAB-9130-44D8-530DD06AC1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280D2F3-FF96-2337-D28F-82BF583387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645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9B6BB5A-0FE5-5C45-83CE-156A9D989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4193654-7F2E-3C48-AE7C-36438A98FE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1152000" rIns="1152000" anchor="ctr"/>
          <a:lstStyle/>
          <a:p>
            <a:pPr marL="0" indent="0" algn="ctr">
              <a:buNone/>
            </a:pPr>
            <a:r>
              <a:rPr lang="en-GB" sz="1800" i="1" dirty="0"/>
              <a:t>We have not succeeded in answering all our problems. The answers we have found only serve to raise a whole set of new questions. In some ways we feel we are as confused as ever, but we believe we are confused on a higher level and about more important things.</a:t>
            </a:r>
          </a:p>
          <a:p>
            <a:pPr marL="0" indent="0" algn="ctr">
              <a:buNone/>
            </a:pPr>
            <a:endParaRPr lang="en-GB" sz="1800" i="1" dirty="0"/>
          </a:p>
          <a:p>
            <a:pPr marL="0" indent="0" algn="r">
              <a:buNone/>
            </a:pPr>
            <a:r>
              <a:rPr lang="en-GB" sz="1200" i="1" dirty="0"/>
              <a:t>Posted outside the mathematics reading room,</a:t>
            </a:r>
            <a:br>
              <a:rPr lang="en-GB" sz="1200" i="1" dirty="0"/>
            </a:br>
            <a:r>
              <a:rPr lang="en-GB" sz="1200" i="1" dirty="0"/>
              <a:t>Troms</a:t>
            </a:r>
            <a:r>
              <a:rPr lang="de-DE" sz="1200" dirty="0" err="1"/>
              <a:t>ø</a:t>
            </a:r>
            <a:r>
              <a:rPr lang="en-GB" sz="1200" i="1" dirty="0"/>
              <a:t> University, </a:t>
            </a:r>
            <a:r>
              <a:rPr lang="en-GB" sz="1200" i="1" dirty="0" err="1"/>
              <a:t>Bernt</a:t>
            </a:r>
            <a:r>
              <a:rPr lang="en-GB" sz="1200" i="1" dirty="0"/>
              <a:t> </a:t>
            </a:r>
            <a:r>
              <a:rPr lang="de-DE" sz="1200" dirty="0" err="1"/>
              <a:t>Ø</a:t>
            </a:r>
            <a:r>
              <a:rPr lang="en-GB" sz="1200" i="1" dirty="0" err="1"/>
              <a:t>ksendal</a:t>
            </a:r>
            <a:r>
              <a:rPr lang="en-GB" sz="1200" i="1" dirty="0"/>
              <a:t> </a:t>
            </a:r>
          </a:p>
          <a:p>
            <a:pPr marL="0" indent="0" algn="ctr">
              <a:buNone/>
            </a:pP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0C08BB9-549D-6747-9FF9-56C9B8AD53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7068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gX_XJmWo9Sp2rhPZe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p="http://schemas.openxmlformats.org/presentationml/2006/main"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:p="http://schemas.openxmlformats.org/presentationml/2006/main"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8000" tIns="108000" rIns="108000" bIns="108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2</Words>
  <Application>Microsoft Macintosh PowerPoint</Application>
  <PresentationFormat>Bildschirmpräsentation (4:3)</PresentationFormat>
  <Paragraphs>5</Paragraphs>
  <Slides>5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  <vt:variant>
        <vt:lpstr>Zielgruppenorientierte Präsentationen</vt:lpstr>
      </vt:variant>
      <vt:variant>
        <vt:i4>1</vt:i4>
      </vt:variant>
    </vt:vector>
  </HeadingPairs>
  <TitlesOfParts>
    <vt:vector size="12" baseType="lpstr">
      <vt:lpstr>Arial</vt:lpstr>
      <vt:lpstr>Syntax</vt:lpstr>
      <vt:lpstr>Times</vt:lpstr>
      <vt:lpstr>Wingdings</vt:lpstr>
      <vt:lpstr>Leere Präsentation</vt:lpstr>
      <vt:lpstr>think-cell Folie</vt:lpstr>
      <vt:lpstr>Data Science (M.Sc.)</vt:lpstr>
      <vt:lpstr>PowerPoint-Präsentation</vt:lpstr>
      <vt:lpstr>PowerPoint-Präsentation</vt:lpstr>
      <vt:lpstr>PowerPoint-Präsentation</vt:lpstr>
      <vt:lpstr>PowerPoint-Präsentation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Microsoft Office User</cp:lastModifiedBy>
  <cp:revision>943</cp:revision>
  <cp:lastPrinted>2020-08-04T13:45:46Z</cp:lastPrinted>
  <dcterms:created xsi:type="dcterms:W3CDTF">2010-04-29T12:39:23Z</dcterms:created>
  <dcterms:modified xsi:type="dcterms:W3CDTF">2022-05-25T08:52:47Z</dcterms:modified>
</cp:coreProperties>
</file>